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3" r:id="rId1"/>
    <p:sldMasterId id="2147483848" r:id="rId2"/>
    <p:sldMasterId id="2147483858" r:id="rId3"/>
  </p:sldMasterIdLst>
  <p:notesMasterIdLst>
    <p:notesMasterId r:id="rId10"/>
  </p:notesMasterIdLst>
  <p:sldIdLst>
    <p:sldId id="532" r:id="rId4"/>
    <p:sldId id="528" r:id="rId5"/>
    <p:sldId id="557" r:id="rId6"/>
    <p:sldId id="552" r:id="rId7"/>
    <p:sldId id="560" r:id="rId8"/>
    <p:sldId id="558" r:id="rId9"/>
  </p:sldIdLst>
  <p:sldSz cx="24384000" cy="13716000"/>
  <p:notesSz cx="7315200" cy="96012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680" userDrawn="1">
          <p15:clr>
            <a:srgbClr val="A4A3A4"/>
          </p15:clr>
        </p15:guide>
        <p15:guide id="2" orient="horz" pos="4320" userDrawn="1">
          <p15:clr>
            <a:srgbClr val="A4A3A4"/>
          </p15:clr>
        </p15:guide>
        <p15:guide id="3" pos="876" userDrawn="1">
          <p15:clr>
            <a:srgbClr val="A4A3A4"/>
          </p15:clr>
        </p15:guide>
        <p15:guide id="4" pos="14484" userDrawn="1">
          <p15:clr>
            <a:srgbClr val="A4A3A4"/>
          </p15:clr>
        </p15:guide>
        <p15:guide id="5" pos="4279" userDrawn="1">
          <p15:clr>
            <a:srgbClr val="A4A3A4"/>
          </p15:clr>
        </p15:guide>
        <p15:guide id="6" pos="5027" userDrawn="1">
          <p15:clr>
            <a:srgbClr val="A4A3A4"/>
          </p15:clr>
        </p15:guide>
        <p15:guide id="8" pos="10311" userDrawn="1">
          <p15:clr>
            <a:srgbClr val="A4A3A4"/>
          </p15:clr>
        </p15:guide>
        <p15:guide id="9" pos="5593" userDrawn="1">
          <p15:clr>
            <a:srgbClr val="A4A3A4"/>
          </p15:clr>
        </p15:guide>
        <p15:guide id="10" pos="2963" userDrawn="1">
          <p15:clr>
            <a:srgbClr val="A4A3A4"/>
          </p15:clr>
        </p15:guide>
        <p15:guide id="11" pos="12397" userDrawn="1">
          <p15:clr>
            <a:srgbClr val="A4A3A4"/>
          </p15:clr>
        </p15:guide>
        <p15:guide id="13" pos="9427" userDrawn="1">
          <p15:clr>
            <a:srgbClr val="A4A3A4"/>
          </p15:clr>
        </p15:guide>
        <p15:guide id="14" pos="9767" userDrawn="1">
          <p15:clr>
            <a:srgbClr val="A4A3A4"/>
          </p15:clr>
        </p15:guide>
        <p15:guide id="15" pos="8814" userDrawn="1">
          <p15:clr>
            <a:srgbClr val="A4A3A4"/>
          </p15:clr>
        </p15:guide>
        <p15:guide id="16" pos="11083" userDrawn="1">
          <p15:clr>
            <a:srgbClr val="A4A3A4"/>
          </p15:clr>
        </p15:guide>
        <p15:guide id="17" pos="1579" userDrawn="1">
          <p15:clr>
            <a:srgbClr val="A4A3A4"/>
          </p15:clr>
        </p15:guide>
        <p15:guide id="18" orient="horz" pos="4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A554"/>
    <a:srgbClr val="1B1D23"/>
    <a:srgbClr val="4BC1EB"/>
    <a:srgbClr val="2B3045"/>
    <a:srgbClr val="D5E2E7"/>
    <a:srgbClr val="BA3E62"/>
    <a:srgbClr val="5B7183"/>
    <a:srgbClr val="91B3C1"/>
    <a:srgbClr val="24294C"/>
    <a:srgbClr val="5E97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74" autoAdjust="0"/>
  </p:normalViewPr>
  <p:slideViewPr>
    <p:cSldViewPr snapToGrid="0">
      <p:cViewPr varScale="1">
        <p:scale>
          <a:sx n="56" d="100"/>
          <a:sy n="56" d="100"/>
        </p:scale>
        <p:origin x="456" y="12"/>
      </p:cViewPr>
      <p:guideLst>
        <p:guide pos="7680"/>
        <p:guide orient="horz" pos="4320"/>
        <p:guide pos="876"/>
        <p:guide pos="14484"/>
        <p:guide pos="4279"/>
        <p:guide pos="5027"/>
        <p:guide pos="10311"/>
        <p:guide pos="5593"/>
        <p:guide pos="2963"/>
        <p:guide pos="12397"/>
        <p:guide pos="9427"/>
        <p:guide pos="9767"/>
        <p:guide pos="8814"/>
        <p:guide pos="11083"/>
        <p:guide pos="1579"/>
        <p:guide orient="horz" pos="48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63" d="100"/>
          <a:sy n="63" d="100"/>
        </p:scale>
        <p:origin x="3120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A9C809DD-C6E4-4F11-9A83-6997680F1DCC}" type="datetimeFigureOut">
              <a:rPr lang="ru-RU" smtClean="0"/>
              <a:t>01.11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A4E20CF2-69E4-4069-BE78-187E5181E22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4630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20CF2-69E4-4069-BE78-187E5181E221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3212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20CF2-69E4-4069-BE78-187E5181E221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5613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20CF2-69E4-4069-BE78-187E5181E221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47334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20CF2-69E4-4069-BE78-187E5181E221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6383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2238683" y="1436961"/>
            <a:ext cx="3296267" cy="3295016"/>
          </a:xfrm>
          <a:prstGeom prst="ellipse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8" name="Рисунок 3"/>
          <p:cNvSpPr>
            <a:spLocks noGrp="1"/>
          </p:cNvSpPr>
          <p:nvPr>
            <p:ph type="pic" sz="quarter" idx="11"/>
          </p:nvPr>
        </p:nvSpPr>
        <p:spPr>
          <a:xfrm>
            <a:off x="2238681" y="5241404"/>
            <a:ext cx="3296267" cy="3295016"/>
          </a:xfrm>
          <a:prstGeom prst="ellipse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9" name="Рисунок 3"/>
          <p:cNvSpPr>
            <a:spLocks noGrp="1"/>
          </p:cNvSpPr>
          <p:nvPr>
            <p:ph type="pic" sz="quarter" idx="12"/>
          </p:nvPr>
        </p:nvSpPr>
        <p:spPr>
          <a:xfrm>
            <a:off x="2238683" y="9045847"/>
            <a:ext cx="3296267" cy="3295016"/>
          </a:xfrm>
          <a:prstGeom prst="ellipse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10" name="Рисунок 3"/>
          <p:cNvSpPr>
            <a:spLocks noGrp="1"/>
          </p:cNvSpPr>
          <p:nvPr>
            <p:ph type="pic" sz="quarter" idx="13"/>
          </p:nvPr>
        </p:nvSpPr>
        <p:spPr>
          <a:xfrm>
            <a:off x="12214860" y="1406049"/>
            <a:ext cx="3296267" cy="3295016"/>
          </a:xfrm>
          <a:prstGeom prst="ellipse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/>
          </p:nvPr>
        </p:nvSpPr>
        <p:spPr>
          <a:xfrm>
            <a:off x="12214859" y="5210492"/>
            <a:ext cx="3296267" cy="3295016"/>
          </a:xfrm>
          <a:prstGeom prst="ellipse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/>
          </p:nvPr>
        </p:nvSpPr>
        <p:spPr>
          <a:xfrm>
            <a:off x="12214860" y="9014935"/>
            <a:ext cx="3296267" cy="3295016"/>
          </a:xfrm>
          <a:prstGeom prst="ellipse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643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 mod="1">
    <p:ext uri="{DCECCB84-F9BA-43D5-87BE-67443E8EF086}">
      <p15:sldGuideLst xmlns:p15="http://schemas.microsoft.com/office/powerpoint/2012/main">
        <p15:guide id="1" pos="7680" userDrawn="1">
          <p15:clr>
            <a:srgbClr val="FBAE40"/>
          </p15:clr>
        </p15:guide>
        <p15:guide id="2" orient="horz" pos="4320" userDrawn="1">
          <p15:clr>
            <a:srgbClr val="FBAE40"/>
          </p15:clr>
        </p15:guide>
        <p15:guide id="3" pos="14484" userDrawn="1">
          <p15:clr>
            <a:srgbClr val="FBAE40"/>
          </p15:clr>
        </p15:guide>
        <p15:guide id="4" pos="87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438807" y="2706879"/>
            <a:ext cx="12849893" cy="265671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438807" y="5516975"/>
            <a:ext cx="12849893" cy="6328139"/>
          </a:xfrm>
        </p:spPr>
        <p:txBody>
          <a:bodyPr numCol="2" spcCol="32004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4768742" y="2706877"/>
            <a:ext cx="8177494" cy="913823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74393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438807" y="2706877"/>
            <a:ext cx="12849893" cy="9138235"/>
          </a:xfrm>
        </p:spPr>
        <p:txBody>
          <a:bodyPr numCol="2" spcCol="320040"/>
          <a:lstStyle>
            <a:lvl1pPr marL="0" marR="0" indent="0" algn="l" defTabSz="1660459" rtl="0" eaLnBrk="1" fontAlgn="base" latinLnBrk="0" hangingPunct="1">
              <a:lnSpc>
                <a:spcPct val="100000"/>
              </a:lnSpc>
              <a:spcBef>
                <a:spcPts val="1090"/>
              </a:spcBef>
              <a:spcAft>
                <a:spcPts val="545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1660459" rtl="0" eaLnBrk="1" fontAlgn="base" latinLnBrk="0" hangingPunct="1">
              <a:lnSpc>
                <a:spcPct val="100000"/>
              </a:lnSpc>
              <a:spcBef>
                <a:spcPts val="1090"/>
              </a:spcBef>
              <a:spcAft>
                <a:spcPts val="545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4768742" y="2706877"/>
            <a:ext cx="8177494" cy="913823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42281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438808" y="2706877"/>
            <a:ext cx="6800430" cy="9138235"/>
          </a:xfrm>
        </p:spPr>
        <p:txBody>
          <a:bodyPr numCol="1" spcCol="320040"/>
          <a:lstStyle>
            <a:lvl1pPr marL="0" marR="0" indent="0" algn="l" defTabSz="1660459" rtl="0" eaLnBrk="1" fontAlgn="base" latinLnBrk="0" hangingPunct="1">
              <a:lnSpc>
                <a:spcPct val="100000"/>
              </a:lnSpc>
              <a:spcBef>
                <a:spcPts val="1090"/>
              </a:spcBef>
              <a:spcAft>
                <a:spcPts val="545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1660459" rtl="0" eaLnBrk="1" fontAlgn="base" latinLnBrk="0" hangingPunct="1">
              <a:lnSpc>
                <a:spcPct val="100000"/>
              </a:lnSpc>
              <a:spcBef>
                <a:spcPts val="1090"/>
              </a:spcBef>
              <a:spcAft>
                <a:spcPts val="545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674163" y="2706877"/>
            <a:ext cx="14268388" cy="913823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9016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438808" y="2706877"/>
            <a:ext cx="5840860" cy="9138235"/>
          </a:xfrm>
        </p:spPr>
        <p:txBody>
          <a:bodyPr numCol="1" spcCol="320040"/>
          <a:lstStyle>
            <a:lvl1pPr marL="0" marR="0" indent="0" algn="l" defTabSz="1660459" rtl="0" eaLnBrk="1" fontAlgn="base" latinLnBrk="0" hangingPunct="1">
              <a:lnSpc>
                <a:spcPct val="100000"/>
              </a:lnSpc>
              <a:spcBef>
                <a:spcPts val="1090"/>
              </a:spcBef>
              <a:spcAft>
                <a:spcPts val="545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1660459" rtl="0" eaLnBrk="1" fontAlgn="base" latinLnBrk="0" hangingPunct="1">
              <a:lnSpc>
                <a:spcPct val="100000"/>
              </a:lnSpc>
              <a:spcBef>
                <a:spcPts val="1090"/>
              </a:spcBef>
              <a:spcAft>
                <a:spcPts val="545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8674163" y="2706877"/>
            <a:ext cx="14268388" cy="913823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7850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1438809" y="2706879"/>
            <a:ext cx="21515654" cy="913823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7459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1438809" y="2706879"/>
            <a:ext cx="21515654" cy="913823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39575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390769" cy="317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03516" name="Rectangle 9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390769" cy="317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7310586" y="1121710"/>
            <a:ext cx="12426630" cy="11483208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269" dirty="0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269" dirty="0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269" dirty="0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1430874" y="3237503"/>
            <a:ext cx="13250861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1430874" y="8442173"/>
            <a:ext cx="13250861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444205" y="3401619"/>
            <a:ext cx="13278572" cy="3744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6537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471917" y="7269959"/>
            <a:ext cx="13250861" cy="576065"/>
          </a:xfrm>
        </p:spPr>
        <p:txBody>
          <a:bodyPr anchor="ctr">
            <a:noAutofit/>
          </a:bodyPr>
          <a:lstStyle>
            <a:lvl1pPr marL="0" marR="0" indent="0" algn="l" defTabSz="1660459" rtl="0" eaLnBrk="1" fontAlgn="base" latinLnBrk="0" hangingPunct="1">
              <a:lnSpc>
                <a:spcPct val="100000"/>
              </a:lnSpc>
              <a:spcBef>
                <a:spcPts val="1090"/>
              </a:spcBef>
              <a:spcAft>
                <a:spcPts val="545"/>
              </a:spcAft>
              <a:buClr>
                <a:schemeClr val="tx1"/>
              </a:buClr>
              <a:buSzTx/>
              <a:buFontTx/>
              <a:buNone/>
              <a:tabLst/>
              <a:defRPr sz="36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1660459" rtl="0" eaLnBrk="1" fontAlgn="base" latinLnBrk="0" hangingPunct="1">
              <a:lnSpc>
                <a:spcPct val="100000"/>
              </a:lnSpc>
              <a:spcBef>
                <a:spcPts val="1090"/>
              </a:spcBef>
              <a:spcAft>
                <a:spcPts val="545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1231912" y="7866126"/>
            <a:ext cx="3457772" cy="576065"/>
          </a:xfrm>
        </p:spPr>
        <p:txBody>
          <a:bodyPr anchor="ctr">
            <a:noAutofit/>
          </a:bodyPr>
          <a:lstStyle>
            <a:lvl1pPr algn="r">
              <a:defRPr sz="326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16195213" y="10252999"/>
            <a:ext cx="6883871" cy="195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85997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390769" cy="317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03516" name="Rectangle 9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390769" cy="317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 userDrawn="1"/>
        </p:nvGrpSpPr>
        <p:grpSpPr>
          <a:xfrm>
            <a:off x="3224172" y="2057608"/>
            <a:ext cx="19858104" cy="11658403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419653" y="3297801"/>
            <a:ext cx="13268626" cy="5040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6537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430874" y="8546001"/>
            <a:ext cx="13250861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763714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390769" cy="317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390769" cy="317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8810" y="790690"/>
            <a:ext cx="21526584" cy="1419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/>
              <a:t>©2015 Evalueserv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/>
              <a:t> /  evalueserve.com</a:t>
            </a:r>
          </a:p>
        </p:txBody>
      </p:sp>
    </p:spTree>
    <p:extLst>
      <p:ext uri="{BB962C8B-B14F-4D97-AF65-F5344CB8AC3E}">
        <p14:creationId xmlns:p14="http://schemas.microsoft.com/office/powerpoint/2010/main" val="231092440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390769" cy="317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390769" cy="317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1426637" y="12670772"/>
            <a:ext cx="2108152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1426637" y="13042242"/>
            <a:ext cx="2108152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22668949" y="12046818"/>
            <a:ext cx="1174001" cy="970887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53014" y="12671639"/>
            <a:ext cx="3596099" cy="360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816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/>
              <a:t> /  evalueserve.com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764483" y="12693653"/>
            <a:ext cx="7721599" cy="33798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81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©2015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430512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718373" y="12811862"/>
            <a:ext cx="3274979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600" dirty="0">
                <a:solidFill>
                  <a:srgbClr val="4BC1EB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www.startup.com</a:t>
            </a:r>
          </a:p>
        </p:txBody>
      </p:sp>
      <p:sp>
        <p:nvSpPr>
          <p:cNvPr id="10" name="Рисунок 3"/>
          <p:cNvSpPr>
            <a:spLocks noGrp="1"/>
          </p:cNvSpPr>
          <p:nvPr>
            <p:ph type="pic" sz="quarter" idx="10"/>
          </p:nvPr>
        </p:nvSpPr>
        <p:spPr>
          <a:xfrm>
            <a:off x="3276601" y="4895850"/>
            <a:ext cx="3924300" cy="39243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1"/>
          </p:nvPr>
        </p:nvSpPr>
        <p:spPr>
          <a:xfrm>
            <a:off x="7200901" y="4895850"/>
            <a:ext cx="3924300" cy="39243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2"/>
          </p:nvPr>
        </p:nvSpPr>
        <p:spPr>
          <a:xfrm>
            <a:off x="11125201" y="4895850"/>
            <a:ext cx="3924300" cy="39243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3"/>
          </p:nvPr>
        </p:nvSpPr>
        <p:spPr>
          <a:xfrm>
            <a:off x="15049501" y="4895850"/>
            <a:ext cx="3924300" cy="39243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976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 mod="1">
    <p:ext uri="{DCECCB84-F9BA-43D5-87BE-67443E8EF086}">
      <p15:sldGuideLst xmlns:p15="http://schemas.microsoft.com/office/powerpoint/2012/main">
        <p15:guide id="1" pos="7680" userDrawn="1">
          <p15:clr>
            <a:srgbClr val="FBAE40"/>
          </p15:clr>
        </p15:guide>
        <p15:guide id="2" orient="horz" pos="4320" userDrawn="1">
          <p15:clr>
            <a:srgbClr val="FBAE40"/>
          </p15:clr>
        </p15:guide>
        <p15:guide id="3" pos="14484" userDrawn="1">
          <p15:clr>
            <a:srgbClr val="FBAE40"/>
          </p15:clr>
        </p15:guide>
        <p15:guide id="4" pos="87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390769" cy="317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Objekt 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390769" cy="317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1426637" y="12670772"/>
            <a:ext cx="2108152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1426637" y="13042242"/>
            <a:ext cx="2108152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22668949" y="12046818"/>
            <a:ext cx="1174001" cy="970887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53014" y="12671639"/>
            <a:ext cx="3596099" cy="360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816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/>
              <a:t> /  evalueserve.com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764483" y="12693653"/>
            <a:ext cx="7721599" cy="33798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81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©2015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8679722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Рисунок 6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64" name="Рисунок 61"/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65" name="Рисунок 61"/>
          <p:cNvSpPr>
            <a:spLocks noGrp="1"/>
          </p:cNvSpPr>
          <p:nvPr>
            <p:ph type="pic" sz="quarter" idx="12"/>
          </p:nvPr>
        </p:nvSpPr>
        <p:spPr>
          <a:xfrm>
            <a:off x="12192000" y="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66" name="Рисунок 61"/>
          <p:cNvSpPr>
            <a:spLocks noGrp="1"/>
          </p:cNvSpPr>
          <p:nvPr>
            <p:ph type="pic" sz="quarter" idx="13"/>
          </p:nvPr>
        </p:nvSpPr>
        <p:spPr>
          <a:xfrm>
            <a:off x="18288000" y="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67" name="Рисунок 61"/>
          <p:cNvSpPr>
            <a:spLocks noGrp="1"/>
          </p:cNvSpPr>
          <p:nvPr>
            <p:ph type="pic" sz="quarter" idx="14"/>
          </p:nvPr>
        </p:nvSpPr>
        <p:spPr>
          <a:xfrm>
            <a:off x="0" y="457200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68" name="Рисунок 61"/>
          <p:cNvSpPr>
            <a:spLocks noGrp="1"/>
          </p:cNvSpPr>
          <p:nvPr>
            <p:ph type="pic" sz="quarter" idx="15"/>
          </p:nvPr>
        </p:nvSpPr>
        <p:spPr>
          <a:xfrm>
            <a:off x="6096000" y="457200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69" name="Рисунок 61"/>
          <p:cNvSpPr>
            <a:spLocks noGrp="1"/>
          </p:cNvSpPr>
          <p:nvPr>
            <p:ph type="pic" sz="quarter" idx="16"/>
          </p:nvPr>
        </p:nvSpPr>
        <p:spPr>
          <a:xfrm>
            <a:off x="12192000" y="457200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70" name="Рисунок 61"/>
          <p:cNvSpPr>
            <a:spLocks noGrp="1"/>
          </p:cNvSpPr>
          <p:nvPr>
            <p:ph type="pic" sz="quarter" idx="17"/>
          </p:nvPr>
        </p:nvSpPr>
        <p:spPr>
          <a:xfrm>
            <a:off x="18288000" y="457200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71" name="Рисунок 61"/>
          <p:cNvSpPr>
            <a:spLocks noGrp="1"/>
          </p:cNvSpPr>
          <p:nvPr>
            <p:ph type="pic" sz="quarter" idx="18"/>
          </p:nvPr>
        </p:nvSpPr>
        <p:spPr>
          <a:xfrm>
            <a:off x="0" y="914400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72" name="Рисунок 61"/>
          <p:cNvSpPr>
            <a:spLocks noGrp="1"/>
          </p:cNvSpPr>
          <p:nvPr>
            <p:ph type="pic" sz="quarter" idx="19"/>
          </p:nvPr>
        </p:nvSpPr>
        <p:spPr>
          <a:xfrm>
            <a:off x="6096000" y="914400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73" name="Рисунок 61"/>
          <p:cNvSpPr>
            <a:spLocks noGrp="1"/>
          </p:cNvSpPr>
          <p:nvPr>
            <p:ph type="pic" sz="quarter" idx="20"/>
          </p:nvPr>
        </p:nvSpPr>
        <p:spPr>
          <a:xfrm>
            <a:off x="12192000" y="914400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  <p:sp>
        <p:nvSpPr>
          <p:cNvPr id="74" name="Рисунок 61"/>
          <p:cNvSpPr>
            <a:spLocks noGrp="1"/>
          </p:cNvSpPr>
          <p:nvPr>
            <p:ph type="pic" sz="quarter" idx="21"/>
          </p:nvPr>
        </p:nvSpPr>
        <p:spPr>
          <a:xfrm>
            <a:off x="18288000" y="9144000"/>
            <a:ext cx="6096000" cy="4572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425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 mod="1">
    <p:ext uri="{DCECCB84-F9BA-43D5-87BE-67443E8EF086}">
      <p15:sldGuideLst xmlns:p15="http://schemas.microsoft.com/office/powerpoint/2012/main">
        <p15:guide id="1" pos="7680" userDrawn="1">
          <p15:clr>
            <a:srgbClr val="FBAE40"/>
          </p15:clr>
        </p15:guide>
        <p15:guide id="2" orient="horz" pos="4320" userDrawn="1">
          <p15:clr>
            <a:srgbClr val="FBAE40"/>
          </p15:clr>
        </p15:guide>
        <p15:guide id="3" pos="14484" userDrawn="1">
          <p15:clr>
            <a:srgbClr val="FBAE40"/>
          </p15:clr>
        </p15:guide>
        <p15:guide id="4" pos="87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Рисунок 6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1371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596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 mod="1">
    <p:ext uri="{DCECCB84-F9BA-43D5-87BE-67443E8EF086}">
      <p15:sldGuideLst xmlns:p15="http://schemas.microsoft.com/office/powerpoint/2012/main">
        <p15:guide id="1" pos="7680" userDrawn="1">
          <p15:clr>
            <a:srgbClr val="FBAE40"/>
          </p15:clr>
        </p15:guide>
        <p15:guide id="2" orient="horz" pos="4320" userDrawn="1">
          <p15:clr>
            <a:srgbClr val="FBAE40"/>
          </p15:clr>
        </p15:guide>
        <p15:guide id="3" pos="14484" userDrawn="1">
          <p15:clr>
            <a:srgbClr val="FBAE40"/>
          </p15:clr>
        </p15:guide>
        <p15:guide id="4" pos="8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Рисунок 6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84000" cy="1371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19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 mod="1">
    <p:ext uri="{DCECCB84-F9BA-43D5-87BE-67443E8EF086}">
      <p15:sldGuideLst xmlns:p15="http://schemas.microsoft.com/office/powerpoint/2012/main">
        <p15:guide id="1" pos="7680" userDrawn="1">
          <p15:clr>
            <a:srgbClr val="FBAE40"/>
          </p15:clr>
        </p15:guide>
        <p15:guide id="2" orient="horz" pos="4320" userDrawn="1">
          <p15:clr>
            <a:srgbClr val="FBAE40"/>
          </p15:clr>
        </p15:guide>
        <p15:guide id="3" pos="14484" userDrawn="1">
          <p15:clr>
            <a:srgbClr val="FBAE40"/>
          </p15:clr>
        </p15:guide>
        <p15:guide id="4" pos="87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4000" cy="3218888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2630246"/>
            <a:ext cx="24384000" cy="11085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0" tIns="182880" rIns="182880" bIns="182880" numCol="1" spcCol="1270" rtlCol="0" anchor="ctr" anchorCtr="0">
            <a:noAutofit/>
          </a:bodyPr>
          <a:lstStyle/>
          <a:p>
            <a:pPr marL="0" marR="0" lvl="0" indent="0" algn="ctr" defTabSz="2933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6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4656" y="740365"/>
            <a:ext cx="22090144" cy="993942"/>
          </a:xfrm>
          <a:prstGeom prst="rect">
            <a:avLst/>
          </a:prstGeom>
        </p:spPr>
        <p:txBody>
          <a:bodyPr/>
          <a:lstStyle>
            <a:lvl1pPr>
              <a:defRPr sz="6400" spc="-300">
                <a:solidFill>
                  <a:srgbClr val="006ED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2281286" y="1794722"/>
            <a:ext cx="21034344" cy="848756"/>
          </a:xfrm>
          <a:prstGeom prst="rect">
            <a:avLst/>
          </a:prstGeom>
          <a:noFill/>
          <a:ln>
            <a:noFill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3200" b="0" cap="none" spc="600" baseline="0" smtClean="0">
                <a:solidFill>
                  <a:schemeClr val="tx2"/>
                </a:solidFill>
                <a:latin typeface="Calibri Light" panose="020F0302020204030204" pitchFamily="34" charset="0"/>
                <a:cs typeface="+mj-cs"/>
              </a:defRPr>
            </a:lvl1pPr>
            <a:lvl2pPr>
              <a:defRPr lang="en-US" sz="8800" smtClean="0">
                <a:solidFill>
                  <a:schemeClr val="accent1"/>
                </a:solidFill>
                <a:latin typeface="Arial" pitchFamily="34" charset="0"/>
              </a:defRPr>
            </a:lvl2pPr>
            <a:lvl3pPr>
              <a:defRPr lang="en-US" sz="8800" smtClean="0">
                <a:solidFill>
                  <a:schemeClr val="accent1"/>
                </a:solidFill>
                <a:latin typeface="Arial" pitchFamily="34" charset="0"/>
              </a:defRPr>
            </a:lvl3pPr>
            <a:lvl4pPr>
              <a:defRPr lang="en-US" sz="8800" smtClean="0">
                <a:solidFill>
                  <a:schemeClr val="accent1"/>
                </a:solidFill>
                <a:latin typeface="Arial" pitchFamily="34" charset="0"/>
              </a:defRPr>
            </a:lvl4pPr>
            <a:lvl5pPr>
              <a:defRPr lang="en-US" sz="8800">
                <a:solidFill>
                  <a:schemeClr val="accent1"/>
                </a:solidFill>
                <a:latin typeface="Arial" pitchFamily="34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SUBTITLE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1219200" y="3097429"/>
            <a:ext cx="21945600" cy="8248278"/>
          </a:xfrm>
          <a:prstGeom prst="rect">
            <a:avLst/>
          </a:prstGeom>
        </p:spPr>
        <p:txBody>
          <a:bodyPr/>
          <a:lstStyle>
            <a:lvl1pPr marL="685800" indent="-454026">
              <a:buSzPct val="100000"/>
              <a:buFont typeface="Calibri Light" panose="020F0302020204030204" pitchFamily="34" charset="0"/>
              <a:buChar char="+"/>
              <a:defRPr/>
            </a:lvl1pPr>
            <a:lvl2pPr marL="1485900" indent="-571500">
              <a:buClr>
                <a:srgbClr val="FFF014"/>
              </a:buClr>
              <a:buSzPct val="100000"/>
              <a:buFont typeface="Calibri Light" panose="020F0302020204030204" pitchFamily="34" charset="0"/>
              <a:buChar char="»"/>
              <a:defRPr/>
            </a:lvl2pPr>
            <a:lvl3pPr marL="2286000" indent="-457200">
              <a:buSzPct val="100000"/>
              <a:buFont typeface="Calibri Light" panose="020F0302020204030204" pitchFamily="34" charset="0"/>
              <a:buChar char="+"/>
              <a:defRPr b="1">
                <a:latin typeface="+mj-lt"/>
              </a:defRPr>
            </a:lvl3pPr>
            <a:lvl4pPr marL="3200400" indent="-457200">
              <a:buClr>
                <a:schemeClr val="accent2"/>
              </a:buClr>
              <a:buSzPct val="100000"/>
              <a:buFontTx/>
              <a:buChar char="»"/>
              <a:defRPr/>
            </a:lvl4pPr>
            <a:lvl5pPr marL="4114800" indent="-457200">
              <a:buSzPct val="100000"/>
              <a:buFontTx/>
              <a:buChar char="+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21156993" y="12776756"/>
            <a:ext cx="2818492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844D7-84D1-4DBF-BC8A-2A673C7BFB69}" type="slidenum">
              <a:rPr lang="ru-RU" sz="6000" smtClean="0">
                <a:solidFill>
                  <a:srgbClr val="4BC1EB"/>
                </a:solidFill>
                <a:latin typeface="Fira Sans ExtraBold" panose="020B0903050000020004" pitchFamily="34" charset="0"/>
                <a:ea typeface="Fira Sans ExtraBold" panose="020B0903050000020004" pitchFamily="34" charset="0"/>
              </a:rPr>
              <a:pPr/>
              <a:t>‹#›</a:t>
            </a:fld>
            <a:endParaRPr lang="ru-RU" sz="6000" dirty="0">
              <a:solidFill>
                <a:srgbClr val="4BC1EB"/>
              </a:solidFill>
              <a:latin typeface="Fira Sans ExtraBold" panose="020B0903050000020004" pitchFamily="34" charset="0"/>
              <a:ea typeface="Fira Sans ExtraBold" panose="020B09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99363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438810" y="2706879"/>
            <a:ext cx="21526584" cy="913823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26861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85741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438807" y="2706879"/>
            <a:ext cx="21507430" cy="265671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438807" y="5516975"/>
            <a:ext cx="21506883" cy="6328139"/>
          </a:xfrm>
        </p:spPr>
        <p:txBody>
          <a:bodyPr numCol="3" spcCol="32004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48232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B30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 txBox="1">
            <a:spLocks/>
          </p:cNvSpPr>
          <p:nvPr userDrawn="1"/>
        </p:nvSpPr>
        <p:spPr>
          <a:xfrm>
            <a:off x="21156993" y="12776756"/>
            <a:ext cx="2818492" cy="7302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844D7-84D1-4DBF-BC8A-2A673C7BFB69}" type="slidenum">
              <a:rPr lang="ru-RU" sz="6000" smtClean="0">
                <a:solidFill>
                  <a:srgbClr val="4BC1EB"/>
                </a:solidFill>
                <a:latin typeface="Fira Sans ExtraBold" panose="020B0903050000020004" pitchFamily="34" charset="0"/>
                <a:ea typeface="Fira Sans ExtraBold" panose="020B0903050000020004" pitchFamily="34" charset="0"/>
              </a:rPr>
              <a:pPr/>
              <a:t>‹#›</a:t>
            </a:fld>
            <a:endParaRPr lang="ru-RU" sz="6000" dirty="0">
              <a:solidFill>
                <a:srgbClr val="4BC1EB"/>
              </a:solidFill>
              <a:latin typeface="Fira Sans ExtraBold" panose="020B0903050000020004" pitchFamily="34" charset="0"/>
              <a:ea typeface="Fira Sans ExtraBold" panose="020B09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7753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39" r:id="rId2"/>
    <p:sldLayoutId id="2147483840" r:id="rId3"/>
    <p:sldLayoutId id="2147483841" r:id="rId4"/>
    <p:sldLayoutId id="2147483842" r:id="rId5"/>
    <p:sldLayoutId id="2147483846" r:id="rId6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l" defTabSz="1828754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828754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66" indent="-457189" algn="l" defTabSz="18287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943" indent="-457189" algn="l" defTabSz="18287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320" indent="-457189" algn="l" defTabSz="18287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697" indent="-457189" algn="l" defTabSz="18287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074" indent="-457189" algn="l" defTabSz="18287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451" indent="-457189" algn="l" defTabSz="18287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829" indent="-457189" algn="l" defTabSz="18287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206" indent="-457189" algn="l" defTabSz="18287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54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131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509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886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263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640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017" algn="l" defTabSz="182875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1"/>
          <a:ext cx="390769" cy="317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1093" name="Rectangle 6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390769" cy="317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1438810" y="2706879"/>
            <a:ext cx="21526584" cy="913823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1438810" y="790690"/>
            <a:ext cx="21526584" cy="1419043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1430873" y="2324628"/>
            <a:ext cx="2152774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1430873" y="762000"/>
            <a:ext cx="2152774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1430873" y="2324628"/>
            <a:ext cx="2152774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1430873" y="762000"/>
            <a:ext cx="2152774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1748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4358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5pPr>
      <a:lvl6pPr marL="946378"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6pPr>
      <a:lvl7pPr marL="1892758"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7pPr>
      <a:lvl8pPr marL="2839136"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8pPr>
      <a:lvl9pPr marL="3785514"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1090"/>
        </a:spcBef>
        <a:spcAft>
          <a:spcPts val="545"/>
        </a:spcAft>
        <a:buClr>
          <a:schemeClr val="tx1"/>
        </a:buClr>
        <a:defRPr sz="2542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09349" indent="-415115" algn="l" rtl="0" eaLnBrk="1" fontAlgn="base" hangingPunct="1">
        <a:spcBef>
          <a:spcPts val="1090"/>
        </a:spcBef>
        <a:spcAft>
          <a:spcPts val="545"/>
        </a:spcAft>
        <a:buClr>
          <a:schemeClr val="tx2"/>
        </a:buClr>
        <a:buSzPct val="100000"/>
        <a:buFont typeface="Arial" panose="020B0604020202020204" pitchFamily="34" charset="0"/>
        <a:buChar char="•"/>
        <a:defRPr sz="2542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830229" indent="-415115" algn="l" rtl="0" eaLnBrk="1" fontAlgn="base" hangingPunct="1">
        <a:spcBef>
          <a:spcPts val="1090"/>
        </a:spcBef>
        <a:spcAft>
          <a:spcPts val="545"/>
        </a:spcAft>
        <a:buClr>
          <a:schemeClr val="tx2"/>
        </a:buClr>
        <a:buSzPct val="100000"/>
        <a:buFont typeface="Arial" panose="020B0604020202020204" pitchFamily="34" charset="0"/>
        <a:buChar char="–"/>
        <a:defRPr sz="2542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1251110" indent="-412233" algn="l" rtl="0" eaLnBrk="1" fontAlgn="base" hangingPunct="1">
        <a:spcBef>
          <a:spcPts val="1090"/>
        </a:spcBef>
        <a:spcAft>
          <a:spcPts val="545"/>
        </a:spcAft>
        <a:buClr>
          <a:schemeClr val="tx2"/>
        </a:buClr>
        <a:buSzPct val="100000"/>
        <a:buFont typeface="Arial" panose="020B0604020202020204" pitchFamily="34" charset="0"/>
        <a:buChar char="•"/>
        <a:defRPr sz="2542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1660459" indent="-409349" algn="l" rtl="0" eaLnBrk="1" fontAlgn="base" hangingPunct="1">
        <a:spcBef>
          <a:spcPts val="1090"/>
        </a:spcBef>
        <a:spcAft>
          <a:spcPts val="545"/>
        </a:spcAft>
        <a:buClr>
          <a:schemeClr val="tx2"/>
        </a:buClr>
        <a:buSzPct val="100000"/>
        <a:buFont typeface="Arial" panose="020B0604020202020204" pitchFamily="34" charset="0"/>
        <a:buChar char="–"/>
        <a:defRPr sz="2542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2069808" indent="-409349" algn="l" rtl="0" eaLnBrk="1" fontAlgn="base" hangingPunct="1">
        <a:spcBef>
          <a:spcPts val="1090"/>
        </a:spcBef>
        <a:spcAft>
          <a:spcPts val="545"/>
        </a:spcAft>
        <a:buClr>
          <a:schemeClr val="tx2"/>
        </a:buClr>
        <a:buSzPct val="100000"/>
        <a:buFont typeface="Arial" panose="020B0604020202020204" pitchFamily="34" charset="0"/>
        <a:buChar char="•"/>
        <a:defRPr sz="2542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3075730" indent="-305603" algn="l" rtl="0" eaLnBrk="1" fontAlgn="base" hangingPunct="1">
        <a:spcBef>
          <a:spcPct val="50000"/>
        </a:spcBef>
        <a:spcAft>
          <a:spcPct val="0"/>
        </a:spcAft>
        <a:buChar char="»"/>
        <a:defRPr sz="2542">
          <a:solidFill>
            <a:schemeClr val="tx1"/>
          </a:solidFill>
          <a:latin typeface="+mn-lt"/>
        </a:defRPr>
      </a:lvl7pPr>
      <a:lvl8pPr marL="4022110" indent="-305603" algn="l" rtl="0" eaLnBrk="1" fontAlgn="base" hangingPunct="1">
        <a:spcBef>
          <a:spcPct val="50000"/>
        </a:spcBef>
        <a:spcAft>
          <a:spcPct val="0"/>
        </a:spcAft>
        <a:buChar char="»"/>
        <a:defRPr sz="2542">
          <a:solidFill>
            <a:schemeClr val="tx1"/>
          </a:solidFill>
          <a:latin typeface="+mn-lt"/>
        </a:defRPr>
      </a:lvl8pPr>
      <a:lvl9pPr marL="4968488" indent="-305603" algn="l" rtl="0" eaLnBrk="1" fontAlgn="base" hangingPunct="1">
        <a:spcBef>
          <a:spcPct val="50000"/>
        </a:spcBef>
        <a:spcAft>
          <a:spcPct val="0"/>
        </a:spcAft>
        <a:buChar char="»"/>
        <a:defRPr sz="2542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1pPr>
      <a:lvl2pPr marL="946378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2pPr>
      <a:lvl3pPr marL="1892758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3pPr>
      <a:lvl4pPr marL="2839136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4pPr>
      <a:lvl5pPr marL="3785514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5pPr>
      <a:lvl6pPr marL="4731892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6pPr>
      <a:lvl7pPr marL="5678272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7pPr>
      <a:lvl8pPr marL="6624650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8pPr>
      <a:lvl9pPr marL="7571028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0" y="1"/>
          <a:ext cx="390769" cy="317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1093" name="Rectangle 6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390769" cy="317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1438810" y="2706877"/>
            <a:ext cx="21526584" cy="913823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sz="2542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1438810" y="790690"/>
            <a:ext cx="21526584" cy="1419043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430873" y="2324628"/>
            <a:ext cx="2152774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1430873" y="762000"/>
            <a:ext cx="2152774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426637" y="12670772"/>
            <a:ext cx="2108152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1426637" y="13042242"/>
            <a:ext cx="2108152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22668949" y="12046818"/>
            <a:ext cx="1174001" cy="970887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53014" y="12671639"/>
            <a:ext cx="3596099" cy="360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816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/>
              <a:t> /  evalueserve.com</a:t>
            </a:r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764483" y="12693653"/>
            <a:ext cx="7721599" cy="33798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816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©2015 Evalueserve. All rights reserved.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1430873" y="2324628"/>
            <a:ext cx="2152774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1430873" y="762000"/>
            <a:ext cx="2152774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1426637" y="12670772"/>
            <a:ext cx="2108152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1426637" y="13042242"/>
            <a:ext cx="2108152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22668949" y="12046818"/>
            <a:ext cx="1174001" cy="970887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66045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310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4358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5pPr>
      <a:lvl6pPr marL="946378"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6pPr>
      <a:lvl7pPr marL="1892758"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7pPr>
      <a:lvl8pPr marL="2839136"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8pPr>
      <a:lvl9pPr marL="3785514" algn="l" rtl="0" eaLnBrk="1" fontAlgn="base" hangingPunct="1">
        <a:spcBef>
          <a:spcPct val="0"/>
        </a:spcBef>
        <a:spcAft>
          <a:spcPct val="0"/>
        </a:spcAft>
        <a:defRPr sz="3269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1090"/>
        </a:spcBef>
        <a:spcAft>
          <a:spcPts val="545"/>
        </a:spcAft>
        <a:buClr>
          <a:schemeClr val="tx1"/>
        </a:buClr>
        <a:defRPr sz="2542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15115" indent="-415115" algn="l" rtl="0" eaLnBrk="1" fontAlgn="base" hangingPunct="1">
        <a:spcBef>
          <a:spcPts val="1090"/>
        </a:spcBef>
        <a:spcAft>
          <a:spcPts val="545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2542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830229" indent="-415115" algn="l" rtl="0" eaLnBrk="1" fontAlgn="base" hangingPunct="1">
        <a:spcBef>
          <a:spcPts val="1090"/>
        </a:spcBef>
        <a:spcAft>
          <a:spcPts val="545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2542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1251110" indent="-412233" algn="l" rtl="0" eaLnBrk="1" fontAlgn="base" hangingPunct="1">
        <a:spcBef>
          <a:spcPts val="1090"/>
        </a:spcBef>
        <a:spcAft>
          <a:spcPts val="545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2542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1660459" indent="-409349" algn="l" rtl="0" eaLnBrk="1" fontAlgn="base" hangingPunct="1">
        <a:spcBef>
          <a:spcPts val="1090"/>
        </a:spcBef>
        <a:spcAft>
          <a:spcPts val="545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2542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2069808" indent="-409349" algn="l" rtl="0" eaLnBrk="1" fontAlgn="base" hangingPunct="1">
        <a:spcBef>
          <a:spcPts val="1090"/>
        </a:spcBef>
        <a:spcAft>
          <a:spcPts val="545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2542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3075730" indent="-305603" algn="l" rtl="0" eaLnBrk="1" fontAlgn="base" hangingPunct="1">
        <a:spcBef>
          <a:spcPct val="50000"/>
        </a:spcBef>
        <a:spcAft>
          <a:spcPct val="0"/>
        </a:spcAft>
        <a:buChar char="»"/>
        <a:defRPr sz="2542">
          <a:solidFill>
            <a:schemeClr val="tx1"/>
          </a:solidFill>
          <a:latin typeface="+mn-lt"/>
        </a:defRPr>
      </a:lvl7pPr>
      <a:lvl8pPr marL="4022110" indent="-305603" algn="l" rtl="0" eaLnBrk="1" fontAlgn="base" hangingPunct="1">
        <a:spcBef>
          <a:spcPct val="50000"/>
        </a:spcBef>
        <a:spcAft>
          <a:spcPct val="0"/>
        </a:spcAft>
        <a:buChar char="»"/>
        <a:defRPr sz="2542">
          <a:solidFill>
            <a:schemeClr val="tx1"/>
          </a:solidFill>
          <a:latin typeface="+mn-lt"/>
        </a:defRPr>
      </a:lvl8pPr>
      <a:lvl9pPr marL="4968488" indent="-305603" algn="l" rtl="0" eaLnBrk="1" fontAlgn="base" hangingPunct="1">
        <a:spcBef>
          <a:spcPct val="50000"/>
        </a:spcBef>
        <a:spcAft>
          <a:spcPct val="0"/>
        </a:spcAft>
        <a:buChar char="»"/>
        <a:defRPr sz="2542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1pPr>
      <a:lvl2pPr marL="946378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2pPr>
      <a:lvl3pPr marL="1892758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3pPr>
      <a:lvl4pPr marL="2839136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4pPr>
      <a:lvl5pPr marL="3785514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5pPr>
      <a:lvl6pPr marL="4731892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6pPr>
      <a:lvl7pPr marL="5678272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7pPr>
      <a:lvl8pPr marL="6624650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8pPr>
      <a:lvl9pPr marL="7571028" algn="l" defTabSz="1892758" rtl="0" eaLnBrk="1" latinLnBrk="0" hangingPunct="1">
        <a:defRPr sz="38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>
          <p15:clr>
            <a:srgbClr val="F26B43"/>
          </p15:clr>
        </p15:guide>
        <p15:guide id="3" pos="6345">
          <p15:clr>
            <a:srgbClr val="F26B43"/>
          </p15:clr>
        </p15:guide>
        <p15:guide id="4" orient="horz" pos="939">
          <p15:clr>
            <a:srgbClr val="F26B43"/>
          </p15:clr>
        </p15:guide>
        <p15:guide id="6" orient="horz" pos="765">
          <p15:clr>
            <a:srgbClr val="F26B43"/>
          </p15:clr>
        </p15:guide>
        <p15:guide id="7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3dhubs.com/service/56737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3dhubs.com/service/56737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d Hubs’ Network of Supplier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6412422" y="2643478"/>
            <a:ext cx="7971578" cy="9830318"/>
          </a:xfrm>
        </p:spPr>
        <p:txBody>
          <a:bodyPr anchor="ctr"/>
          <a:lstStyle/>
          <a:p>
            <a:pPr>
              <a:spcBef>
                <a:spcPts val="3000"/>
              </a:spcBef>
              <a:spcAft>
                <a:spcPts val="3000"/>
              </a:spcAft>
            </a:pPr>
            <a:r>
              <a:rPr lang="en-US" sz="4800" dirty="0"/>
              <a:t>Globally 28,524 suppliers</a:t>
            </a:r>
          </a:p>
          <a:p>
            <a:pPr>
              <a:spcBef>
                <a:spcPts val="3000"/>
              </a:spcBef>
              <a:spcAft>
                <a:spcPts val="3000"/>
              </a:spcAft>
            </a:pPr>
            <a:r>
              <a:rPr lang="en-US" sz="4800" dirty="0"/>
              <a:t>USA ~ 9,137 suppliers</a:t>
            </a:r>
          </a:p>
          <a:p>
            <a:pPr>
              <a:spcBef>
                <a:spcPts val="3000"/>
              </a:spcBef>
              <a:spcAft>
                <a:spcPts val="3000"/>
              </a:spcAft>
            </a:pPr>
            <a:r>
              <a:rPr lang="en-US" sz="4800" dirty="0"/>
              <a:t>Europe ~ 13,565 suppliers</a:t>
            </a:r>
          </a:p>
          <a:p>
            <a:pPr>
              <a:spcBef>
                <a:spcPts val="3000"/>
              </a:spcBef>
              <a:spcAft>
                <a:spcPts val="3000"/>
              </a:spcAft>
            </a:pPr>
            <a:r>
              <a:rPr lang="en-US" sz="4800" dirty="0"/>
              <a:t>Other Regions ~ 5,82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406AE4-8D12-4EB6-A9F6-5DE7B62B23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43478"/>
            <a:ext cx="16205386" cy="11072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6377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ier Profi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EF2CE7-5AB4-406F-B2B4-20DD233290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8075" y="0"/>
            <a:ext cx="16035925" cy="13716000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315F7BF-1DDD-4CA4-8002-5B3CF26EC5E3}"/>
              </a:ext>
            </a:extLst>
          </p:cNvPr>
          <p:cNvSpPr txBox="1">
            <a:spLocks/>
          </p:cNvSpPr>
          <p:nvPr/>
        </p:nvSpPr>
        <p:spPr>
          <a:xfrm>
            <a:off x="2317080" y="1734307"/>
            <a:ext cx="4338288" cy="727489"/>
          </a:xfrm>
          <a:prstGeom prst="rect">
            <a:avLst/>
          </a:prstGeom>
        </p:spPr>
        <p:txBody>
          <a:bodyPr/>
          <a:lstStyle>
            <a:lvl1pPr marL="685800" indent="-454026" algn="l" defTabSz="1828754" rtl="0" eaLnBrk="1" latinLnBrk="0" hangingPunct="1">
              <a:lnSpc>
                <a:spcPct val="90000"/>
              </a:lnSpc>
              <a:spcBef>
                <a:spcPts val="2000"/>
              </a:spcBef>
              <a:buSzPct val="100000"/>
              <a:buFont typeface="Calibri Light" panose="020F0302020204030204" pitchFamily="34" charset="0"/>
              <a:buChar char="+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5900" indent="-571500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FF014"/>
              </a:buClr>
              <a:buSzPct val="100000"/>
              <a:buFont typeface="Calibri Light" panose="020F0302020204030204" pitchFamily="34" charset="0"/>
              <a:buChar char="»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0" indent="-457200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Calibri Light" panose="020F0302020204030204" pitchFamily="34" charset="0"/>
              <a:buChar char="+"/>
              <a:defRPr sz="4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200400" indent="-457200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SzPct val="100000"/>
              <a:buFontTx/>
              <a:buChar char="»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0" indent="-457200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Tx/>
              <a:buChar char="+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074" indent="-457189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451" indent="-457189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829" indent="-457189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206" indent="-457189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4" indent="0">
              <a:spcBef>
                <a:spcPts val="3000"/>
              </a:spcBef>
              <a:spcAft>
                <a:spcPts val="3000"/>
              </a:spcAft>
              <a:buNone/>
            </a:pPr>
            <a:r>
              <a:rPr lang="en-US" sz="4800" dirty="0">
                <a:hlinkClick r:id="rId4"/>
              </a:rPr>
              <a:t>NCC’s Hub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2807822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ier Profi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315F7BF-1DDD-4CA4-8002-5B3CF26EC5E3}"/>
              </a:ext>
            </a:extLst>
          </p:cNvPr>
          <p:cNvSpPr txBox="1">
            <a:spLocks/>
          </p:cNvSpPr>
          <p:nvPr/>
        </p:nvSpPr>
        <p:spPr>
          <a:xfrm>
            <a:off x="1969199" y="1968332"/>
            <a:ext cx="4338288" cy="727489"/>
          </a:xfrm>
          <a:prstGeom prst="rect">
            <a:avLst/>
          </a:prstGeom>
        </p:spPr>
        <p:txBody>
          <a:bodyPr/>
          <a:lstStyle>
            <a:lvl1pPr marL="685800" indent="-454026" algn="l" defTabSz="1828754" rtl="0" eaLnBrk="1" latinLnBrk="0" hangingPunct="1">
              <a:lnSpc>
                <a:spcPct val="90000"/>
              </a:lnSpc>
              <a:spcBef>
                <a:spcPts val="2000"/>
              </a:spcBef>
              <a:buSzPct val="100000"/>
              <a:buFont typeface="Calibri Light" panose="020F0302020204030204" pitchFamily="34" charset="0"/>
              <a:buChar char="+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5900" indent="-571500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FF014"/>
              </a:buClr>
              <a:buSzPct val="100000"/>
              <a:buFont typeface="Calibri Light" panose="020F0302020204030204" pitchFamily="34" charset="0"/>
              <a:buChar char="»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0" indent="-457200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Calibri Light" panose="020F0302020204030204" pitchFamily="34" charset="0"/>
              <a:buChar char="+"/>
              <a:defRPr sz="40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200400" indent="-457200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SzPct val="100000"/>
              <a:buFontTx/>
              <a:buChar char="»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0" indent="-457200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Tx/>
              <a:buChar char="+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074" indent="-457189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451" indent="-457189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829" indent="-457189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206" indent="-457189" algn="l" defTabSz="18287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4" indent="0">
              <a:spcBef>
                <a:spcPts val="3000"/>
              </a:spcBef>
              <a:spcAft>
                <a:spcPts val="3000"/>
              </a:spcAft>
              <a:buNone/>
            </a:pPr>
            <a:r>
              <a:rPr lang="en-US" sz="4800" dirty="0">
                <a:hlinkClick r:id="rId3"/>
              </a:rPr>
              <a:t>NCC’s Hub</a:t>
            </a:r>
            <a:endParaRPr lang="en-US" sz="4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DF50462-0848-4E4B-A45C-F6BE289739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6762" y="1"/>
            <a:ext cx="13558788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43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ollection 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D29F86B-2F31-48E2-A8E6-3BDDBAE0AB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81286" y="1794722"/>
            <a:ext cx="21034344" cy="848756"/>
          </a:xfrm>
        </p:spPr>
        <p:txBody>
          <a:bodyPr/>
          <a:lstStyle/>
          <a:p>
            <a:r>
              <a:rPr lang="en-US" dirty="0"/>
              <a:t>Supplier Profile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45CD336-E97E-4C66-BBFF-A1A9E555BE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886432"/>
              </p:ext>
            </p:extLst>
          </p:nvPr>
        </p:nvGraphicFramePr>
        <p:xfrm>
          <a:off x="4692769" y="2977262"/>
          <a:ext cx="15717329" cy="9448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29544">
                  <a:extLst>
                    <a:ext uri="{9D8B030D-6E8A-4147-A177-3AD203B41FA5}">
                      <a16:colId xmlns:a16="http://schemas.microsoft.com/office/drawing/2014/main" val="208107562"/>
                    </a:ext>
                  </a:extLst>
                </a:gridCol>
                <a:gridCol w="10687785">
                  <a:extLst>
                    <a:ext uri="{9D8B030D-6E8A-4147-A177-3AD203B41FA5}">
                      <a16:colId xmlns:a16="http://schemas.microsoft.com/office/drawing/2014/main" val="203203802"/>
                    </a:ext>
                  </a:extLst>
                </a:gridCol>
              </a:tblGrid>
              <a:tr h="4721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800" b="1" u="none" strike="noStrike" dirty="0">
                          <a:effectLst/>
                        </a:rPr>
                        <a:t>Supplier Attribute</a:t>
                      </a:r>
                      <a:endParaRPr lang="en-US" sz="2800" b="1" i="0" u="none" strike="noStrike" dirty="0">
                        <a:solidFill>
                          <a:srgbClr val="000000"/>
                        </a:solidFill>
                        <a:effectLst/>
                        <a:latin typeface="Fira Sans Light"/>
                      </a:endParaRP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800" b="1" u="none" strike="noStrike" dirty="0">
                          <a:effectLst/>
                        </a:rPr>
                        <a:t>Description</a:t>
                      </a:r>
                      <a:endParaRPr lang="en-US" sz="2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4599511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dirty="0">
                          <a:effectLst/>
                        </a:rPr>
                        <a:t>Supplier ID</a:t>
                      </a:r>
                      <a:endParaRPr lang="en-US" sz="2800" b="0" i="0" u="none" strike="noStrike" dirty="0">
                        <a:solidFill>
                          <a:srgbClr val="000000"/>
                        </a:solidFill>
                        <a:effectLst/>
                        <a:latin typeface="Fira Sans Light"/>
                      </a:endParaRP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800" u="none" strike="noStrike" dirty="0">
                          <a:effectLst/>
                        </a:rPr>
                        <a:t>Unique Identification Number for a Supplier</a:t>
                      </a:r>
                      <a:endParaRPr lang="en-US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0397544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erage Rating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ings from customer reviews (1 to 5)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482634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nt Quality Rating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8902995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ed Rating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3156391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vice Rating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0239619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unication Rating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2895545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Reviews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Customer Reviews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94768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ivation Date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day since supplier has been active on 3D Hubs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013394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erage Response Time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erage time to respond to a customer's request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0971920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der Completion Time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 taken to complete an order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9157890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achines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achines operated by the supplier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7189359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stered Business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ividual operation or a registered business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436287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cation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ntry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047309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Images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print sample images uploaded on the profile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2778425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ufacturing Partner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best performing business status provided by 3D Hubs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440353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hine Model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and and Model of 3D Printer 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3225743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lution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 Resolution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6808153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erial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erial used for printing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117595"/>
                  </a:ext>
                </a:extLst>
              </a:tr>
              <a:tr h="472100"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ce</a:t>
                      </a:r>
                    </a:p>
                  </a:txBody>
                  <a:tcPr marT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754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ce for a 10 cm tall Marvin Model</a:t>
                      </a:r>
                    </a:p>
                  </a:txBody>
                  <a:tcPr marT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33544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960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A9866-0076-4F9C-A73C-C5CA20F4F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nswers do we want from this data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8E7CDA-39BF-48C2-9F60-B2A861D518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3097428"/>
            <a:ext cx="21945600" cy="10152746"/>
          </a:xfrm>
        </p:spPr>
        <p:txBody>
          <a:bodyPr/>
          <a:lstStyle/>
          <a:p>
            <a:r>
              <a:rPr lang="en-US" dirty="0"/>
              <a:t>How many suppliers are located in the US?</a:t>
            </a:r>
          </a:p>
          <a:p>
            <a:r>
              <a:rPr lang="en-US" dirty="0"/>
              <a:t>Find dormant suppliers (with 0 reviews). When were these suppliers established?</a:t>
            </a:r>
          </a:p>
          <a:p>
            <a:r>
              <a:rPr lang="en-US" dirty="0"/>
              <a:t>How many suppliers are selling ABS/ PLA material in the US and what is the average price?</a:t>
            </a:r>
          </a:p>
          <a:p>
            <a:r>
              <a:rPr lang="en-US" dirty="0"/>
              <a:t>Where are the manufacturing partners located?</a:t>
            </a:r>
          </a:p>
          <a:p>
            <a:r>
              <a:rPr lang="en-US" dirty="0"/>
              <a:t>For ABS/PLA materials, Do the manufacturing partners have higher price than the average?</a:t>
            </a:r>
          </a:p>
          <a:p>
            <a:r>
              <a:rPr lang="en-US" dirty="0"/>
              <a:t>Do you see any suppliers which are selling at exorbitant prices? Identify Outliers from the data</a:t>
            </a:r>
          </a:p>
          <a:p>
            <a:r>
              <a:rPr lang="en-US" dirty="0"/>
              <a:t>How does reviews and ratings affect a supplier’s price?</a:t>
            </a:r>
          </a:p>
        </p:txBody>
      </p:sp>
    </p:spTree>
    <p:extLst>
      <p:ext uri="{BB962C8B-B14F-4D97-AF65-F5344CB8AC3E}">
        <p14:creationId xmlns:p14="http://schemas.microsoft.com/office/powerpoint/2010/main" val="6582335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A9866-0076-4F9C-A73C-C5CA20F4F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8E7CDA-39BF-48C2-9F60-B2A861D518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3097429"/>
            <a:ext cx="21945600" cy="6732371"/>
          </a:xfrm>
        </p:spPr>
        <p:txBody>
          <a:bodyPr/>
          <a:lstStyle/>
          <a:p>
            <a:r>
              <a:rPr lang="en-US" dirty="0"/>
              <a:t>How to read a csv file?</a:t>
            </a:r>
          </a:p>
          <a:p>
            <a:r>
              <a:rPr lang="en-US" dirty="0"/>
              <a:t>How to merge DFs?</a:t>
            </a:r>
          </a:p>
          <a:p>
            <a:r>
              <a:rPr lang="en-US" dirty="0"/>
              <a:t>How to search for data in DFs?</a:t>
            </a:r>
          </a:p>
          <a:p>
            <a:r>
              <a:rPr lang="en-US" dirty="0"/>
              <a:t>How to create a box plot?</a:t>
            </a:r>
          </a:p>
          <a:p>
            <a:r>
              <a:rPr lang="en-US" dirty="0"/>
              <a:t>How to create heatmaps?</a:t>
            </a:r>
          </a:p>
          <a:p>
            <a:r>
              <a:rPr lang="en-US" dirty="0"/>
              <a:t>How to create histograms?</a:t>
            </a:r>
          </a:p>
        </p:txBody>
      </p:sp>
    </p:spTree>
    <p:extLst>
      <p:ext uri="{BB962C8B-B14F-4D97-AF65-F5344CB8AC3E}">
        <p14:creationId xmlns:p14="http://schemas.microsoft.com/office/powerpoint/2010/main" val="2112220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">
  <a:themeElements>
    <a:clrScheme name="Simple presentati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BC1EB"/>
      </a:accent1>
      <a:accent2>
        <a:srgbClr val="C5D620"/>
      </a:accent2>
      <a:accent3>
        <a:srgbClr val="F9A554"/>
      </a:accent3>
      <a:accent4>
        <a:srgbClr val="E36D5F"/>
      </a:accent4>
      <a:accent5>
        <a:srgbClr val="BA3E62"/>
      </a:accent5>
      <a:accent6>
        <a:srgbClr val="8155A2"/>
      </a:accent6>
      <a:hlink>
        <a:srgbClr val="0563C1"/>
      </a:hlink>
      <a:folHlink>
        <a:srgbClr val="954F72"/>
      </a:folHlink>
    </a:clrScheme>
    <a:fontScheme name="Simple theme">
      <a:majorFont>
        <a:latin typeface="Fira Sans ExtraBold"/>
        <a:ea typeface=""/>
        <a:cs typeface=""/>
      </a:majorFont>
      <a:minorFont>
        <a:latin typeface="Fira Sans Light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in" id="{FDC63A8C-D3B8-4A34-9E94-C1354D725DEB}" vid="{76227ED4-8EF9-4666-837A-0F4D570546EC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 PowerPoint Template_new" id="{5EAC8FFB-936B-46B7-99FD-797A24B6AB28}" vid="{83B5D2D6-8FE6-424F-A1E7-77189D0F4B74}"/>
    </a:ext>
  </a:extLst>
</a:theme>
</file>

<file path=ppt/theme/theme3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 PowerPoint Template_new" id="{5EAC8FFB-936B-46B7-99FD-797A24B6AB28}" vid="{94D703A4-EF6B-40CD-B6E2-DCA263839794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165</TotalTime>
  <Words>316</Words>
  <Application>Microsoft Office PowerPoint</Application>
  <PresentationFormat>Custom</PresentationFormat>
  <Paragraphs>66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rial</vt:lpstr>
      <vt:lpstr>Arial Black</vt:lpstr>
      <vt:lpstr>Calibri</vt:lpstr>
      <vt:lpstr>Calibri Light</vt:lpstr>
      <vt:lpstr>Fira Sans</vt:lpstr>
      <vt:lpstr>Fira Sans ExtraBold</vt:lpstr>
      <vt:lpstr>Fira Sans Light</vt:lpstr>
      <vt:lpstr>Verdana</vt:lpstr>
      <vt:lpstr>Main</vt:lpstr>
      <vt:lpstr>Evalueserve Pink Theme</vt:lpstr>
      <vt:lpstr>Evalueserve Common Layout</vt:lpstr>
      <vt:lpstr>think-cell Slide</vt:lpstr>
      <vt:lpstr>3d Hubs’ Network of Suppliers</vt:lpstr>
      <vt:lpstr>Supplier Profiles</vt:lpstr>
      <vt:lpstr>Supplier Profiles</vt:lpstr>
      <vt:lpstr>Data Collection  </vt:lpstr>
      <vt:lpstr>What answers do we want from this data?</vt:lpstr>
      <vt:lpstr>Learning Objectiv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CSU ISE Seminar - Starly</dc:title>
  <dc:creator>bstarly@ncsu.edu</dc:creator>
  <cp:lastModifiedBy>Deepak Pahwa</cp:lastModifiedBy>
  <cp:revision>1147</cp:revision>
  <cp:lastPrinted>2018-06-13T12:56:16Z</cp:lastPrinted>
  <dcterms:created xsi:type="dcterms:W3CDTF">2015-09-30T09:48:45Z</dcterms:created>
  <dcterms:modified xsi:type="dcterms:W3CDTF">2018-11-01T20:33:33Z</dcterms:modified>
</cp:coreProperties>
</file>